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7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BCA544-C455-3A49-BDBC-33C38A763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1FACFD4-D016-44E2-38ED-CC9710EB52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FACFD4-D016-44E2-38ED-CC9710EB5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622E76-F464-E7D9-BEF2-422FC0DED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0-60-90 Pla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1F2C3C9-20BA-9632-F316-2D47063AAD3B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8" name="Google Shape;457;p13">
            <a:extLst>
              <a:ext uri="{FF2B5EF4-FFF2-40B4-BE49-F238E27FC236}">
                <a16:creationId xmlns:a16="http://schemas.microsoft.com/office/drawing/2014/main" id="{D54E070D-D990-0D37-5024-684E01022576}"/>
              </a:ext>
            </a:extLst>
          </p:cNvPr>
          <p:cNvSpPr>
            <a:spLocks/>
          </p:cNvSpPr>
          <p:nvPr/>
        </p:nvSpPr>
        <p:spPr>
          <a:xfrm>
            <a:off x="522710" y="1058952"/>
            <a:ext cx="3537192" cy="1753216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 defTabSz="1508028"/>
            <a:endParaRPr sz="3939" dirty="0">
              <a:solidFill>
                <a:srgbClr val="FFFFFF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79" name="Google Shape;459;p13">
            <a:extLst>
              <a:ext uri="{FF2B5EF4-FFF2-40B4-BE49-F238E27FC236}">
                <a16:creationId xmlns:a16="http://schemas.microsoft.com/office/drawing/2014/main" id="{53A2129C-6E56-17D2-14D5-E1F9F7169044}"/>
              </a:ext>
            </a:extLst>
          </p:cNvPr>
          <p:cNvSpPr>
            <a:spLocks/>
          </p:cNvSpPr>
          <p:nvPr/>
        </p:nvSpPr>
        <p:spPr>
          <a:xfrm flipH="1">
            <a:off x="522710" y="2949290"/>
            <a:ext cx="3537192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sert Text Here</a:t>
            </a:r>
            <a:endParaRPr kumimoji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0" name="Google Shape;460;p13">
            <a:extLst>
              <a:ext uri="{FF2B5EF4-FFF2-40B4-BE49-F238E27FC236}">
                <a16:creationId xmlns:a16="http://schemas.microsoft.com/office/drawing/2014/main" id="{FB5931B6-3C10-F18F-5315-964F334DE55E}"/>
              </a:ext>
            </a:extLst>
          </p:cNvPr>
          <p:cNvSpPr txBox="1"/>
          <p:nvPr/>
        </p:nvSpPr>
        <p:spPr>
          <a:xfrm>
            <a:off x="819551" y="2194640"/>
            <a:ext cx="2943525" cy="2399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30 DAY</a:t>
            </a:r>
            <a:endParaRPr kumimoji="0" sz="2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1" name="Google Shape;462;p13">
            <a:extLst>
              <a:ext uri="{FF2B5EF4-FFF2-40B4-BE49-F238E27FC236}">
                <a16:creationId xmlns:a16="http://schemas.microsoft.com/office/drawing/2014/main" id="{71B25358-E9B3-CAA8-7D71-9F5FF38F167A}"/>
              </a:ext>
            </a:extLst>
          </p:cNvPr>
          <p:cNvSpPr/>
          <p:nvPr/>
        </p:nvSpPr>
        <p:spPr>
          <a:xfrm>
            <a:off x="4322561" y="1058952"/>
            <a:ext cx="3537192" cy="1753216"/>
          </a:xfrm>
          <a:prstGeom prst="round2Same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 defTabSz="1508028"/>
            <a:endParaRPr sz="3939" dirty="0">
              <a:solidFill>
                <a:srgbClr val="FFFFFF"/>
              </a:solidFill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82" name="Google Shape;464;p13">
            <a:extLst>
              <a:ext uri="{FF2B5EF4-FFF2-40B4-BE49-F238E27FC236}">
                <a16:creationId xmlns:a16="http://schemas.microsoft.com/office/drawing/2014/main" id="{57D5B201-D1AE-8AC5-5CF8-39F53C3EF3DB}"/>
              </a:ext>
            </a:extLst>
          </p:cNvPr>
          <p:cNvSpPr>
            <a:spLocks/>
          </p:cNvSpPr>
          <p:nvPr/>
        </p:nvSpPr>
        <p:spPr>
          <a:xfrm flipH="1">
            <a:off x="4322561" y="2949290"/>
            <a:ext cx="3537192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sert Text Here</a:t>
            </a:r>
            <a:endParaRPr kumimoji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3" name="Google Shape;465;p13">
            <a:extLst>
              <a:ext uri="{FF2B5EF4-FFF2-40B4-BE49-F238E27FC236}">
                <a16:creationId xmlns:a16="http://schemas.microsoft.com/office/drawing/2014/main" id="{0FA88FBB-317F-4669-7D99-DD7D93B6C046}"/>
              </a:ext>
            </a:extLst>
          </p:cNvPr>
          <p:cNvSpPr txBox="1"/>
          <p:nvPr/>
        </p:nvSpPr>
        <p:spPr>
          <a:xfrm>
            <a:off x="4619396" y="2194640"/>
            <a:ext cx="2943525" cy="2399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60 DAY</a:t>
            </a:r>
            <a:endParaRPr kumimoji="0" sz="2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4" name="Google Shape;467;p13">
            <a:extLst>
              <a:ext uri="{FF2B5EF4-FFF2-40B4-BE49-F238E27FC236}">
                <a16:creationId xmlns:a16="http://schemas.microsoft.com/office/drawing/2014/main" id="{947F4258-A61E-540C-FA97-AB01245AB187}"/>
              </a:ext>
            </a:extLst>
          </p:cNvPr>
          <p:cNvSpPr/>
          <p:nvPr/>
        </p:nvSpPr>
        <p:spPr>
          <a:xfrm>
            <a:off x="8122407" y="1058952"/>
            <a:ext cx="3537192" cy="1753216"/>
          </a:xfrm>
          <a:prstGeom prst="round2Same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93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85" name="Google Shape;469;p13">
            <a:extLst>
              <a:ext uri="{FF2B5EF4-FFF2-40B4-BE49-F238E27FC236}">
                <a16:creationId xmlns:a16="http://schemas.microsoft.com/office/drawing/2014/main" id="{864C95C2-F8A9-774B-55EA-E69220359EBD}"/>
              </a:ext>
            </a:extLst>
          </p:cNvPr>
          <p:cNvSpPr>
            <a:spLocks/>
          </p:cNvSpPr>
          <p:nvPr/>
        </p:nvSpPr>
        <p:spPr>
          <a:xfrm flipH="1">
            <a:off x="8122407" y="2949290"/>
            <a:ext cx="3537192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sert Text Here</a:t>
            </a:r>
            <a:endParaRPr kumimoji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6" name="Google Shape;470;p13">
            <a:extLst>
              <a:ext uri="{FF2B5EF4-FFF2-40B4-BE49-F238E27FC236}">
                <a16:creationId xmlns:a16="http://schemas.microsoft.com/office/drawing/2014/main" id="{DAE58F56-15AD-8219-C25A-4C7AF807C873}"/>
              </a:ext>
            </a:extLst>
          </p:cNvPr>
          <p:cNvSpPr txBox="1"/>
          <p:nvPr/>
        </p:nvSpPr>
        <p:spPr>
          <a:xfrm>
            <a:off x="8419246" y="2194640"/>
            <a:ext cx="2943525" cy="2399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90 DAY</a:t>
            </a:r>
            <a:endParaRPr kumimoji="0" sz="2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A6C1D8E0-1FFB-66D3-39DF-9032D79DBEF1}"/>
              </a:ext>
            </a:extLst>
          </p:cNvPr>
          <p:cNvGrpSpPr/>
          <p:nvPr/>
        </p:nvGrpSpPr>
        <p:grpSpPr>
          <a:xfrm>
            <a:off x="9540882" y="1262162"/>
            <a:ext cx="700249" cy="694423"/>
            <a:chOff x="9592182" y="1643412"/>
            <a:chExt cx="708145" cy="702253"/>
          </a:xfrm>
        </p:grpSpPr>
        <p:sp>
          <p:nvSpPr>
            <p:cNvPr id="92" name="Freeform 44">
              <a:extLst>
                <a:ext uri="{FF2B5EF4-FFF2-40B4-BE49-F238E27FC236}">
                  <a16:creationId xmlns:a16="http://schemas.microsoft.com/office/drawing/2014/main" id="{986A6F74-C67E-8BB6-4914-917124BCF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7415" y="1808647"/>
              <a:ext cx="371778" cy="371781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 45">
              <a:extLst>
                <a:ext uri="{FF2B5EF4-FFF2-40B4-BE49-F238E27FC236}">
                  <a16:creationId xmlns:a16="http://schemas.microsoft.com/office/drawing/2014/main" id="{CA73DD42-933D-A6D5-1667-3F8BEC3D77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2182" y="1643412"/>
              <a:ext cx="708145" cy="702253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AE6F2CFB-2594-78AF-19ED-59BDF5A97374}"/>
              </a:ext>
            </a:extLst>
          </p:cNvPr>
          <p:cNvGrpSpPr/>
          <p:nvPr/>
        </p:nvGrpSpPr>
        <p:grpSpPr>
          <a:xfrm>
            <a:off x="5741030" y="1262162"/>
            <a:ext cx="700249" cy="694423"/>
            <a:chOff x="9592182" y="1643412"/>
            <a:chExt cx="708145" cy="702253"/>
          </a:xfrm>
        </p:grpSpPr>
        <p:sp>
          <p:nvSpPr>
            <p:cNvPr id="111" name="Freeform 44">
              <a:extLst>
                <a:ext uri="{FF2B5EF4-FFF2-40B4-BE49-F238E27FC236}">
                  <a16:creationId xmlns:a16="http://schemas.microsoft.com/office/drawing/2014/main" id="{C8A0FD86-8872-060D-7C4E-ECD4EC6C7F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7415" y="1808647"/>
              <a:ext cx="371778" cy="371781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Freeform 45">
              <a:extLst>
                <a:ext uri="{FF2B5EF4-FFF2-40B4-BE49-F238E27FC236}">
                  <a16:creationId xmlns:a16="http://schemas.microsoft.com/office/drawing/2014/main" id="{EB5E06D1-C179-A915-4E05-C75F861E75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2182" y="1643412"/>
              <a:ext cx="708145" cy="702253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5F3412F-B280-C532-ADA5-DD5C78FC2728}"/>
              </a:ext>
            </a:extLst>
          </p:cNvPr>
          <p:cNvGrpSpPr/>
          <p:nvPr/>
        </p:nvGrpSpPr>
        <p:grpSpPr>
          <a:xfrm>
            <a:off x="1941181" y="1262162"/>
            <a:ext cx="700249" cy="694423"/>
            <a:chOff x="9592182" y="1643412"/>
            <a:chExt cx="708145" cy="702253"/>
          </a:xfrm>
        </p:grpSpPr>
        <p:sp>
          <p:nvSpPr>
            <p:cNvPr id="114" name="Freeform 44">
              <a:extLst>
                <a:ext uri="{FF2B5EF4-FFF2-40B4-BE49-F238E27FC236}">
                  <a16:creationId xmlns:a16="http://schemas.microsoft.com/office/drawing/2014/main" id="{45BDA24F-67A7-DB91-AFD7-AF16736193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7415" y="1808647"/>
              <a:ext cx="371778" cy="371781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Freeform 45">
              <a:extLst>
                <a:ext uri="{FF2B5EF4-FFF2-40B4-BE49-F238E27FC236}">
                  <a16:creationId xmlns:a16="http://schemas.microsoft.com/office/drawing/2014/main" id="{6837FBA4-9B83-419D-8789-BBAA24427F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2182" y="1643412"/>
              <a:ext cx="708145" cy="702253"/>
            </a:xfrm>
            <a:custGeom>
              <a:avLst/>
              <a:gdLst>
                <a:gd name="T0" fmla="*/ 204 w 432"/>
                <a:gd name="T1" fmla="*/ 432 h 432"/>
                <a:gd name="T2" fmla="*/ 172 w 432"/>
                <a:gd name="T3" fmla="*/ 379 h 432"/>
                <a:gd name="T4" fmla="*/ 116 w 432"/>
                <a:gd name="T5" fmla="*/ 378 h 432"/>
                <a:gd name="T6" fmla="*/ 54 w 432"/>
                <a:gd name="T7" fmla="*/ 360 h 432"/>
                <a:gd name="T8" fmla="*/ 54 w 432"/>
                <a:gd name="T9" fmla="*/ 316 h 432"/>
                <a:gd name="T10" fmla="*/ 53 w 432"/>
                <a:gd name="T11" fmla="*/ 260 h 432"/>
                <a:gd name="T12" fmla="*/ 0 w 432"/>
                <a:gd name="T13" fmla="*/ 228 h 432"/>
                <a:gd name="T14" fmla="*/ 31 w 432"/>
                <a:gd name="T15" fmla="*/ 172 h 432"/>
                <a:gd name="T16" fmla="*/ 70 w 432"/>
                <a:gd name="T17" fmla="*/ 132 h 432"/>
                <a:gd name="T18" fmla="*/ 45 w 432"/>
                <a:gd name="T19" fmla="*/ 94 h 432"/>
                <a:gd name="T20" fmla="*/ 72 w 432"/>
                <a:gd name="T21" fmla="*/ 54 h 432"/>
                <a:gd name="T22" fmla="*/ 132 w 432"/>
                <a:gd name="T23" fmla="*/ 70 h 432"/>
                <a:gd name="T24" fmla="*/ 172 w 432"/>
                <a:gd name="T25" fmla="*/ 31 h 432"/>
                <a:gd name="T26" fmla="*/ 229 w 432"/>
                <a:gd name="T27" fmla="*/ 0 h 432"/>
                <a:gd name="T28" fmla="*/ 260 w 432"/>
                <a:gd name="T29" fmla="*/ 53 h 432"/>
                <a:gd name="T30" fmla="*/ 316 w 432"/>
                <a:gd name="T31" fmla="*/ 54 h 432"/>
                <a:gd name="T32" fmla="*/ 378 w 432"/>
                <a:gd name="T33" fmla="*/ 72 h 432"/>
                <a:gd name="T34" fmla="*/ 378 w 432"/>
                <a:gd name="T35" fmla="*/ 116 h 432"/>
                <a:gd name="T36" fmla="*/ 379 w 432"/>
                <a:gd name="T37" fmla="*/ 172 h 432"/>
                <a:gd name="T38" fmla="*/ 432 w 432"/>
                <a:gd name="T39" fmla="*/ 203 h 432"/>
                <a:gd name="T40" fmla="*/ 401 w 432"/>
                <a:gd name="T41" fmla="*/ 260 h 432"/>
                <a:gd name="T42" fmla="*/ 362 w 432"/>
                <a:gd name="T43" fmla="*/ 300 h 432"/>
                <a:gd name="T44" fmla="*/ 387 w 432"/>
                <a:gd name="T45" fmla="*/ 338 h 432"/>
                <a:gd name="T46" fmla="*/ 360 w 432"/>
                <a:gd name="T47" fmla="*/ 378 h 432"/>
                <a:gd name="T48" fmla="*/ 300 w 432"/>
                <a:gd name="T49" fmla="*/ 362 h 432"/>
                <a:gd name="T50" fmla="*/ 260 w 432"/>
                <a:gd name="T51" fmla="*/ 401 h 432"/>
                <a:gd name="T52" fmla="*/ 131 w 432"/>
                <a:gd name="T53" fmla="*/ 348 h 432"/>
                <a:gd name="T54" fmla="*/ 180 w 432"/>
                <a:gd name="T55" fmla="*/ 368 h 432"/>
                <a:gd name="T56" fmla="*/ 185 w 432"/>
                <a:gd name="T57" fmla="*/ 401 h 432"/>
                <a:gd name="T58" fmla="*/ 229 w 432"/>
                <a:gd name="T59" fmla="*/ 420 h 432"/>
                <a:gd name="T60" fmla="*/ 248 w 432"/>
                <a:gd name="T61" fmla="*/ 374 h 432"/>
                <a:gd name="T62" fmla="*/ 298 w 432"/>
                <a:gd name="T63" fmla="*/ 349 h 432"/>
                <a:gd name="T64" fmla="*/ 325 w 432"/>
                <a:gd name="T65" fmla="*/ 369 h 432"/>
                <a:gd name="T66" fmla="*/ 369 w 432"/>
                <a:gd name="T67" fmla="*/ 351 h 432"/>
                <a:gd name="T68" fmla="*/ 351 w 432"/>
                <a:gd name="T69" fmla="*/ 306 h 432"/>
                <a:gd name="T70" fmla="*/ 349 w 432"/>
                <a:gd name="T71" fmla="*/ 298 h 432"/>
                <a:gd name="T72" fmla="*/ 374 w 432"/>
                <a:gd name="T73" fmla="*/ 247 h 432"/>
                <a:gd name="T74" fmla="*/ 420 w 432"/>
                <a:gd name="T75" fmla="*/ 228 h 432"/>
                <a:gd name="T76" fmla="*/ 401 w 432"/>
                <a:gd name="T77" fmla="*/ 184 h 432"/>
                <a:gd name="T78" fmla="*/ 368 w 432"/>
                <a:gd name="T79" fmla="*/ 180 h 432"/>
                <a:gd name="T80" fmla="*/ 350 w 432"/>
                <a:gd name="T81" fmla="*/ 126 h 432"/>
                <a:gd name="T82" fmla="*/ 369 w 432"/>
                <a:gd name="T83" fmla="*/ 80 h 432"/>
                <a:gd name="T84" fmla="*/ 325 w 432"/>
                <a:gd name="T85" fmla="*/ 63 h 432"/>
                <a:gd name="T86" fmla="*/ 298 w 432"/>
                <a:gd name="T87" fmla="*/ 83 h 432"/>
                <a:gd name="T88" fmla="*/ 248 w 432"/>
                <a:gd name="T89" fmla="*/ 58 h 432"/>
                <a:gd name="T90" fmla="*/ 229 w 432"/>
                <a:gd name="T91" fmla="*/ 12 h 432"/>
                <a:gd name="T92" fmla="*/ 185 w 432"/>
                <a:gd name="T93" fmla="*/ 31 h 432"/>
                <a:gd name="T94" fmla="*/ 180 w 432"/>
                <a:gd name="T95" fmla="*/ 64 h 432"/>
                <a:gd name="T96" fmla="*/ 127 w 432"/>
                <a:gd name="T97" fmla="*/ 82 h 432"/>
                <a:gd name="T98" fmla="*/ 81 w 432"/>
                <a:gd name="T99" fmla="*/ 63 h 432"/>
                <a:gd name="T100" fmla="*/ 57 w 432"/>
                <a:gd name="T101" fmla="*/ 94 h 432"/>
                <a:gd name="T102" fmla="*/ 82 w 432"/>
                <a:gd name="T103" fmla="*/ 126 h 432"/>
                <a:gd name="T104" fmla="*/ 64 w 432"/>
                <a:gd name="T105" fmla="*/ 180 h 432"/>
                <a:gd name="T106" fmla="*/ 31 w 432"/>
                <a:gd name="T107" fmla="*/ 184 h 432"/>
                <a:gd name="T108" fmla="*/ 12 w 432"/>
                <a:gd name="T109" fmla="*/ 228 h 432"/>
                <a:gd name="T110" fmla="*/ 58 w 432"/>
                <a:gd name="T111" fmla="*/ 247 h 432"/>
                <a:gd name="T112" fmla="*/ 83 w 432"/>
                <a:gd name="T113" fmla="*/ 298 h 432"/>
                <a:gd name="T114" fmla="*/ 82 w 432"/>
                <a:gd name="T115" fmla="*/ 306 h 432"/>
                <a:gd name="T116" fmla="*/ 57 w 432"/>
                <a:gd name="T117" fmla="*/ 338 h 432"/>
                <a:gd name="T118" fmla="*/ 81 w 432"/>
                <a:gd name="T119" fmla="*/ 369 h 432"/>
                <a:gd name="T120" fmla="*/ 126 w 432"/>
                <a:gd name="T121" fmla="*/ 35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2" h="432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50802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93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66311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9</TotalTime>
  <Words>18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entury Gothic</vt:lpstr>
      <vt:lpstr>Courier New</vt:lpstr>
      <vt:lpstr>Crimson Pro</vt:lpstr>
      <vt:lpstr>Roboto</vt:lpstr>
      <vt:lpstr>Wingdings</vt:lpstr>
      <vt:lpstr>Office Theme</vt:lpstr>
      <vt:lpstr>think-cell Slide</vt:lpstr>
      <vt:lpstr>30-60-90 Pla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35</cp:revision>
  <dcterms:created xsi:type="dcterms:W3CDTF">2021-03-31T02:49:57Z</dcterms:created>
  <dcterms:modified xsi:type="dcterms:W3CDTF">2025-10-16T11:00:46Z</dcterms:modified>
  <cp:category/>
</cp:coreProperties>
</file>